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sldIdLst>
    <p:sldId id="256" r:id="rId2"/>
  </p:sldIdLst>
  <p:sldSz cx="3095625" cy="1800225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49" autoAdjust="0"/>
    <p:restoredTop sz="94660"/>
  </p:normalViewPr>
  <p:slideViewPr>
    <p:cSldViewPr snapToGrid="0">
      <p:cViewPr>
        <p:scale>
          <a:sx n="300" d="100"/>
          <a:sy n="300" d="100"/>
        </p:scale>
        <p:origin x="894" y="79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6953" y="294620"/>
            <a:ext cx="2321719" cy="626745"/>
          </a:xfrm>
        </p:spPr>
        <p:txBody>
          <a:bodyPr anchor="b"/>
          <a:lstStyle>
            <a:lvl1pPr algn="ctr">
              <a:defRPr sz="1523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6953" y="945535"/>
            <a:ext cx="2321719" cy="434638"/>
          </a:xfrm>
        </p:spPr>
        <p:txBody>
          <a:bodyPr/>
          <a:lstStyle>
            <a:lvl1pPr marL="0" indent="0" algn="ctr">
              <a:buNone/>
              <a:defRPr sz="609"/>
            </a:lvl1pPr>
            <a:lvl2pPr marL="116083" indent="0" algn="ctr">
              <a:buNone/>
              <a:defRPr sz="508"/>
            </a:lvl2pPr>
            <a:lvl3pPr marL="232166" indent="0" algn="ctr">
              <a:buNone/>
              <a:defRPr sz="457"/>
            </a:lvl3pPr>
            <a:lvl4pPr marL="348249" indent="0" algn="ctr">
              <a:buNone/>
              <a:defRPr sz="406"/>
            </a:lvl4pPr>
            <a:lvl5pPr marL="464332" indent="0" algn="ctr">
              <a:buNone/>
              <a:defRPr sz="406"/>
            </a:lvl5pPr>
            <a:lvl6pPr marL="580415" indent="0" algn="ctr">
              <a:buNone/>
              <a:defRPr sz="406"/>
            </a:lvl6pPr>
            <a:lvl7pPr marL="696498" indent="0" algn="ctr">
              <a:buNone/>
              <a:defRPr sz="406"/>
            </a:lvl7pPr>
            <a:lvl8pPr marL="812582" indent="0" algn="ctr">
              <a:buNone/>
              <a:defRPr sz="406"/>
            </a:lvl8pPr>
            <a:lvl9pPr marL="928665" indent="0" algn="ctr">
              <a:buNone/>
              <a:defRPr sz="406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9888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64490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215307" y="95846"/>
            <a:ext cx="667494" cy="1525607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12824" y="95846"/>
            <a:ext cx="1963787" cy="1525607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7367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5923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212" y="448807"/>
            <a:ext cx="2669977" cy="748843"/>
          </a:xfrm>
        </p:spPr>
        <p:txBody>
          <a:bodyPr anchor="b"/>
          <a:lstStyle>
            <a:lvl1pPr>
              <a:defRPr sz="1523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1212" y="1204734"/>
            <a:ext cx="2669977" cy="393799"/>
          </a:xfrm>
        </p:spPr>
        <p:txBody>
          <a:bodyPr/>
          <a:lstStyle>
            <a:lvl1pPr marL="0" indent="0">
              <a:buNone/>
              <a:defRPr sz="609">
                <a:solidFill>
                  <a:schemeClr val="tx1">
                    <a:tint val="75000"/>
                  </a:schemeClr>
                </a:solidFill>
              </a:defRPr>
            </a:lvl1pPr>
            <a:lvl2pPr marL="116083" indent="0">
              <a:buNone/>
              <a:defRPr sz="508">
                <a:solidFill>
                  <a:schemeClr val="tx1">
                    <a:tint val="75000"/>
                  </a:schemeClr>
                </a:solidFill>
              </a:defRPr>
            </a:lvl2pPr>
            <a:lvl3pPr marL="232166" indent="0">
              <a:buNone/>
              <a:defRPr sz="457">
                <a:solidFill>
                  <a:schemeClr val="tx1">
                    <a:tint val="75000"/>
                  </a:schemeClr>
                </a:solidFill>
              </a:defRPr>
            </a:lvl3pPr>
            <a:lvl4pPr marL="348249" indent="0">
              <a:buNone/>
              <a:defRPr sz="406">
                <a:solidFill>
                  <a:schemeClr val="tx1">
                    <a:tint val="75000"/>
                  </a:schemeClr>
                </a:solidFill>
              </a:defRPr>
            </a:lvl4pPr>
            <a:lvl5pPr marL="464332" indent="0">
              <a:buNone/>
              <a:defRPr sz="406">
                <a:solidFill>
                  <a:schemeClr val="tx1">
                    <a:tint val="75000"/>
                  </a:schemeClr>
                </a:solidFill>
              </a:defRPr>
            </a:lvl5pPr>
            <a:lvl6pPr marL="580415" indent="0">
              <a:buNone/>
              <a:defRPr sz="406">
                <a:solidFill>
                  <a:schemeClr val="tx1">
                    <a:tint val="75000"/>
                  </a:schemeClr>
                </a:solidFill>
              </a:defRPr>
            </a:lvl6pPr>
            <a:lvl7pPr marL="696498" indent="0">
              <a:buNone/>
              <a:defRPr sz="406">
                <a:solidFill>
                  <a:schemeClr val="tx1">
                    <a:tint val="75000"/>
                  </a:schemeClr>
                </a:solidFill>
              </a:defRPr>
            </a:lvl7pPr>
            <a:lvl8pPr marL="812582" indent="0">
              <a:buNone/>
              <a:defRPr sz="406">
                <a:solidFill>
                  <a:schemeClr val="tx1">
                    <a:tint val="75000"/>
                  </a:schemeClr>
                </a:solidFill>
              </a:defRPr>
            </a:lvl8pPr>
            <a:lvl9pPr marL="928665" indent="0">
              <a:buNone/>
              <a:defRPr sz="40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93355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2824" y="479227"/>
            <a:ext cx="1315641" cy="1142226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67160" y="479227"/>
            <a:ext cx="1315641" cy="1142226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23571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95846"/>
            <a:ext cx="2669977" cy="34796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3228" y="441305"/>
            <a:ext cx="1309594" cy="216277"/>
          </a:xfrm>
        </p:spPr>
        <p:txBody>
          <a:bodyPr anchor="b"/>
          <a:lstStyle>
            <a:lvl1pPr marL="0" indent="0">
              <a:buNone/>
              <a:defRPr sz="609" b="1"/>
            </a:lvl1pPr>
            <a:lvl2pPr marL="116083" indent="0">
              <a:buNone/>
              <a:defRPr sz="508" b="1"/>
            </a:lvl2pPr>
            <a:lvl3pPr marL="232166" indent="0">
              <a:buNone/>
              <a:defRPr sz="457" b="1"/>
            </a:lvl3pPr>
            <a:lvl4pPr marL="348249" indent="0">
              <a:buNone/>
              <a:defRPr sz="406" b="1"/>
            </a:lvl4pPr>
            <a:lvl5pPr marL="464332" indent="0">
              <a:buNone/>
              <a:defRPr sz="406" b="1"/>
            </a:lvl5pPr>
            <a:lvl6pPr marL="580415" indent="0">
              <a:buNone/>
              <a:defRPr sz="406" b="1"/>
            </a:lvl6pPr>
            <a:lvl7pPr marL="696498" indent="0">
              <a:buNone/>
              <a:defRPr sz="406" b="1"/>
            </a:lvl7pPr>
            <a:lvl8pPr marL="812582" indent="0">
              <a:buNone/>
              <a:defRPr sz="406" b="1"/>
            </a:lvl8pPr>
            <a:lvl9pPr marL="928665" indent="0">
              <a:buNone/>
              <a:defRPr sz="406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3228" y="657582"/>
            <a:ext cx="1309594" cy="967204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567160" y="441305"/>
            <a:ext cx="1316044" cy="216277"/>
          </a:xfrm>
        </p:spPr>
        <p:txBody>
          <a:bodyPr anchor="b"/>
          <a:lstStyle>
            <a:lvl1pPr marL="0" indent="0">
              <a:buNone/>
              <a:defRPr sz="609" b="1"/>
            </a:lvl1pPr>
            <a:lvl2pPr marL="116083" indent="0">
              <a:buNone/>
              <a:defRPr sz="508" b="1"/>
            </a:lvl2pPr>
            <a:lvl3pPr marL="232166" indent="0">
              <a:buNone/>
              <a:defRPr sz="457" b="1"/>
            </a:lvl3pPr>
            <a:lvl4pPr marL="348249" indent="0">
              <a:buNone/>
              <a:defRPr sz="406" b="1"/>
            </a:lvl4pPr>
            <a:lvl5pPr marL="464332" indent="0">
              <a:buNone/>
              <a:defRPr sz="406" b="1"/>
            </a:lvl5pPr>
            <a:lvl6pPr marL="580415" indent="0">
              <a:buNone/>
              <a:defRPr sz="406" b="1"/>
            </a:lvl6pPr>
            <a:lvl7pPr marL="696498" indent="0">
              <a:buNone/>
              <a:defRPr sz="406" b="1"/>
            </a:lvl7pPr>
            <a:lvl8pPr marL="812582" indent="0">
              <a:buNone/>
              <a:defRPr sz="406" b="1"/>
            </a:lvl8pPr>
            <a:lvl9pPr marL="928665" indent="0">
              <a:buNone/>
              <a:defRPr sz="406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567160" y="657582"/>
            <a:ext cx="1316044" cy="967204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65765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44845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22046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120015"/>
            <a:ext cx="998420" cy="420053"/>
          </a:xfrm>
        </p:spPr>
        <p:txBody>
          <a:bodyPr anchor="b"/>
          <a:lstStyle>
            <a:lvl1pPr>
              <a:defRPr sz="812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16044" y="259199"/>
            <a:ext cx="1567160" cy="1279327"/>
          </a:xfrm>
        </p:spPr>
        <p:txBody>
          <a:bodyPr/>
          <a:lstStyle>
            <a:lvl1pPr>
              <a:defRPr sz="812"/>
            </a:lvl1pPr>
            <a:lvl2pPr>
              <a:defRPr sz="711"/>
            </a:lvl2pPr>
            <a:lvl3pPr>
              <a:defRPr sz="609"/>
            </a:lvl3pPr>
            <a:lvl4pPr>
              <a:defRPr sz="508"/>
            </a:lvl4pPr>
            <a:lvl5pPr>
              <a:defRPr sz="508"/>
            </a:lvl5pPr>
            <a:lvl6pPr>
              <a:defRPr sz="508"/>
            </a:lvl6pPr>
            <a:lvl7pPr>
              <a:defRPr sz="508"/>
            </a:lvl7pPr>
            <a:lvl8pPr>
              <a:defRPr sz="508"/>
            </a:lvl8pPr>
            <a:lvl9pPr>
              <a:defRPr sz="508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3227" y="540067"/>
            <a:ext cx="998420" cy="1000542"/>
          </a:xfrm>
        </p:spPr>
        <p:txBody>
          <a:bodyPr/>
          <a:lstStyle>
            <a:lvl1pPr marL="0" indent="0">
              <a:buNone/>
              <a:defRPr sz="406"/>
            </a:lvl1pPr>
            <a:lvl2pPr marL="116083" indent="0">
              <a:buNone/>
              <a:defRPr sz="355"/>
            </a:lvl2pPr>
            <a:lvl3pPr marL="232166" indent="0">
              <a:buNone/>
              <a:defRPr sz="305"/>
            </a:lvl3pPr>
            <a:lvl4pPr marL="348249" indent="0">
              <a:buNone/>
              <a:defRPr sz="254"/>
            </a:lvl4pPr>
            <a:lvl5pPr marL="464332" indent="0">
              <a:buNone/>
              <a:defRPr sz="254"/>
            </a:lvl5pPr>
            <a:lvl6pPr marL="580415" indent="0">
              <a:buNone/>
              <a:defRPr sz="254"/>
            </a:lvl6pPr>
            <a:lvl7pPr marL="696498" indent="0">
              <a:buNone/>
              <a:defRPr sz="254"/>
            </a:lvl7pPr>
            <a:lvl8pPr marL="812582" indent="0">
              <a:buNone/>
              <a:defRPr sz="254"/>
            </a:lvl8pPr>
            <a:lvl9pPr marL="928665" indent="0">
              <a:buNone/>
              <a:defRPr sz="254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37875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120015"/>
            <a:ext cx="998420" cy="420053"/>
          </a:xfrm>
        </p:spPr>
        <p:txBody>
          <a:bodyPr anchor="b"/>
          <a:lstStyle>
            <a:lvl1pPr>
              <a:defRPr sz="812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316044" y="259199"/>
            <a:ext cx="1567160" cy="1279327"/>
          </a:xfrm>
        </p:spPr>
        <p:txBody>
          <a:bodyPr anchor="t"/>
          <a:lstStyle>
            <a:lvl1pPr marL="0" indent="0">
              <a:buNone/>
              <a:defRPr sz="812"/>
            </a:lvl1pPr>
            <a:lvl2pPr marL="116083" indent="0">
              <a:buNone/>
              <a:defRPr sz="711"/>
            </a:lvl2pPr>
            <a:lvl3pPr marL="232166" indent="0">
              <a:buNone/>
              <a:defRPr sz="609"/>
            </a:lvl3pPr>
            <a:lvl4pPr marL="348249" indent="0">
              <a:buNone/>
              <a:defRPr sz="508"/>
            </a:lvl4pPr>
            <a:lvl5pPr marL="464332" indent="0">
              <a:buNone/>
              <a:defRPr sz="508"/>
            </a:lvl5pPr>
            <a:lvl6pPr marL="580415" indent="0">
              <a:buNone/>
              <a:defRPr sz="508"/>
            </a:lvl6pPr>
            <a:lvl7pPr marL="696498" indent="0">
              <a:buNone/>
              <a:defRPr sz="508"/>
            </a:lvl7pPr>
            <a:lvl8pPr marL="812582" indent="0">
              <a:buNone/>
              <a:defRPr sz="508"/>
            </a:lvl8pPr>
            <a:lvl9pPr marL="928665" indent="0">
              <a:buNone/>
              <a:defRPr sz="508"/>
            </a:lvl9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3227" y="540067"/>
            <a:ext cx="998420" cy="1000542"/>
          </a:xfrm>
        </p:spPr>
        <p:txBody>
          <a:bodyPr/>
          <a:lstStyle>
            <a:lvl1pPr marL="0" indent="0">
              <a:buNone/>
              <a:defRPr sz="406"/>
            </a:lvl1pPr>
            <a:lvl2pPr marL="116083" indent="0">
              <a:buNone/>
              <a:defRPr sz="355"/>
            </a:lvl2pPr>
            <a:lvl3pPr marL="232166" indent="0">
              <a:buNone/>
              <a:defRPr sz="305"/>
            </a:lvl3pPr>
            <a:lvl4pPr marL="348249" indent="0">
              <a:buNone/>
              <a:defRPr sz="254"/>
            </a:lvl4pPr>
            <a:lvl5pPr marL="464332" indent="0">
              <a:buNone/>
              <a:defRPr sz="254"/>
            </a:lvl5pPr>
            <a:lvl6pPr marL="580415" indent="0">
              <a:buNone/>
              <a:defRPr sz="254"/>
            </a:lvl6pPr>
            <a:lvl7pPr marL="696498" indent="0">
              <a:buNone/>
              <a:defRPr sz="254"/>
            </a:lvl7pPr>
            <a:lvl8pPr marL="812582" indent="0">
              <a:buNone/>
              <a:defRPr sz="254"/>
            </a:lvl8pPr>
            <a:lvl9pPr marL="928665" indent="0">
              <a:buNone/>
              <a:defRPr sz="254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02404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2824" y="95846"/>
            <a:ext cx="2669977" cy="3479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2824" y="479227"/>
            <a:ext cx="2669977" cy="11422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12824" y="1668542"/>
            <a:ext cx="696516" cy="9584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0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93BBD2-B587-4421-B8E5-F07A11DB88D9}" type="datetimeFigureOut">
              <a:rPr lang="de-DE" smtClean="0"/>
              <a:t>10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25426" y="1668542"/>
            <a:ext cx="1044773" cy="9584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0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86285" y="1668542"/>
            <a:ext cx="696516" cy="9584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0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23283386"/>
              </p:ext>
            </p:extLst>
          </p:nvPr>
        </p:nvGraphicFramePr>
        <p:xfrm>
          <a:off x="405" y="418"/>
          <a:ext cx="403" cy="4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Folie" r:id="rId16" imgW="384" imgH="384" progId="TCLayout.ActiveDocument.1">
                  <p:embed/>
                </p:oleObj>
              </mc:Choice>
              <mc:Fallback>
                <p:oleObj name="think-cell Folie" r:id="rId16" imgW="384" imgH="38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405" y="418"/>
                        <a:ext cx="403" cy="4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40308" cy="416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1117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5590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232166" rtl="0" eaLnBrk="1" latinLnBrk="0" hangingPunct="1">
        <a:lnSpc>
          <a:spcPct val="90000"/>
        </a:lnSpc>
        <a:spcBef>
          <a:spcPct val="0"/>
        </a:spcBef>
        <a:buNone/>
        <a:defRPr sz="11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8042" indent="-58042" algn="l" defTabSz="232166" rtl="0" eaLnBrk="1" latinLnBrk="0" hangingPunct="1">
        <a:lnSpc>
          <a:spcPct val="90000"/>
        </a:lnSpc>
        <a:spcBef>
          <a:spcPts val="254"/>
        </a:spcBef>
        <a:buFont typeface="Arial" panose="020B0604020202020204" pitchFamily="34" charset="0"/>
        <a:buChar char="•"/>
        <a:defRPr sz="711" kern="1200">
          <a:solidFill>
            <a:schemeClr val="tx1"/>
          </a:solidFill>
          <a:latin typeface="+mn-lt"/>
          <a:ea typeface="+mn-ea"/>
          <a:cs typeface="+mn-cs"/>
        </a:defRPr>
      </a:lvl1pPr>
      <a:lvl2pPr marL="174125" indent="-58042" algn="l" defTabSz="232166" rtl="0" eaLnBrk="1" latinLnBrk="0" hangingPunct="1">
        <a:lnSpc>
          <a:spcPct val="90000"/>
        </a:lnSpc>
        <a:spcBef>
          <a:spcPts val="127"/>
        </a:spcBef>
        <a:buFont typeface="Arial" panose="020B0604020202020204" pitchFamily="34" charset="0"/>
        <a:buChar char="•"/>
        <a:defRPr sz="609" kern="1200">
          <a:solidFill>
            <a:schemeClr val="tx1"/>
          </a:solidFill>
          <a:latin typeface="+mn-lt"/>
          <a:ea typeface="+mn-ea"/>
          <a:cs typeface="+mn-cs"/>
        </a:defRPr>
      </a:lvl2pPr>
      <a:lvl3pPr marL="290208" indent="-58042" algn="l" defTabSz="232166" rtl="0" eaLnBrk="1" latinLnBrk="0" hangingPunct="1">
        <a:lnSpc>
          <a:spcPct val="90000"/>
        </a:lnSpc>
        <a:spcBef>
          <a:spcPts val="127"/>
        </a:spcBef>
        <a:buFont typeface="Arial" panose="020B0604020202020204" pitchFamily="34" charset="0"/>
        <a:buChar char="•"/>
        <a:defRPr sz="508" kern="1200">
          <a:solidFill>
            <a:schemeClr val="tx1"/>
          </a:solidFill>
          <a:latin typeface="+mn-lt"/>
          <a:ea typeface="+mn-ea"/>
          <a:cs typeface="+mn-cs"/>
        </a:defRPr>
      </a:lvl3pPr>
      <a:lvl4pPr marL="406291" indent="-58042" algn="l" defTabSz="232166" rtl="0" eaLnBrk="1" latinLnBrk="0" hangingPunct="1">
        <a:lnSpc>
          <a:spcPct val="90000"/>
        </a:lnSpc>
        <a:spcBef>
          <a:spcPts val="127"/>
        </a:spcBef>
        <a:buFont typeface="Arial" panose="020B0604020202020204" pitchFamily="34" charset="0"/>
        <a:buChar char="•"/>
        <a:defRPr sz="457" kern="1200">
          <a:solidFill>
            <a:schemeClr val="tx1"/>
          </a:solidFill>
          <a:latin typeface="+mn-lt"/>
          <a:ea typeface="+mn-ea"/>
          <a:cs typeface="+mn-cs"/>
        </a:defRPr>
      </a:lvl4pPr>
      <a:lvl5pPr marL="522374" indent="-58042" algn="l" defTabSz="232166" rtl="0" eaLnBrk="1" latinLnBrk="0" hangingPunct="1">
        <a:lnSpc>
          <a:spcPct val="90000"/>
        </a:lnSpc>
        <a:spcBef>
          <a:spcPts val="127"/>
        </a:spcBef>
        <a:buFont typeface="Arial" panose="020B0604020202020204" pitchFamily="34" charset="0"/>
        <a:buChar char="•"/>
        <a:defRPr sz="457" kern="1200">
          <a:solidFill>
            <a:schemeClr val="tx1"/>
          </a:solidFill>
          <a:latin typeface="+mn-lt"/>
          <a:ea typeface="+mn-ea"/>
          <a:cs typeface="+mn-cs"/>
        </a:defRPr>
      </a:lvl5pPr>
      <a:lvl6pPr marL="638457" indent="-58042" algn="l" defTabSz="232166" rtl="0" eaLnBrk="1" latinLnBrk="0" hangingPunct="1">
        <a:lnSpc>
          <a:spcPct val="90000"/>
        </a:lnSpc>
        <a:spcBef>
          <a:spcPts val="127"/>
        </a:spcBef>
        <a:buFont typeface="Arial" panose="020B0604020202020204" pitchFamily="34" charset="0"/>
        <a:buChar char="•"/>
        <a:defRPr sz="457" kern="1200">
          <a:solidFill>
            <a:schemeClr val="tx1"/>
          </a:solidFill>
          <a:latin typeface="+mn-lt"/>
          <a:ea typeface="+mn-ea"/>
          <a:cs typeface="+mn-cs"/>
        </a:defRPr>
      </a:lvl6pPr>
      <a:lvl7pPr marL="754540" indent="-58042" algn="l" defTabSz="232166" rtl="0" eaLnBrk="1" latinLnBrk="0" hangingPunct="1">
        <a:lnSpc>
          <a:spcPct val="90000"/>
        </a:lnSpc>
        <a:spcBef>
          <a:spcPts val="127"/>
        </a:spcBef>
        <a:buFont typeface="Arial" panose="020B0604020202020204" pitchFamily="34" charset="0"/>
        <a:buChar char="•"/>
        <a:defRPr sz="457" kern="1200">
          <a:solidFill>
            <a:schemeClr val="tx1"/>
          </a:solidFill>
          <a:latin typeface="+mn-lt"/>
          <a:ea typeface="+mn-ea"/>
          <a:cs typeface="+mn-cs"/>
        </a:defRPr>
      </a:lvl7pPr>
      <a:lvl8pPr marL="870623" indent="-58042" algn="l" defTabSz="232166" rtl="0" eaLnBrk="1" latinLnBrk="0" hangingPunct="1">
        <a:lnSpc>
          <a:spcPct val="90000"/>
        </a:lnSpc>
        <a:spcBef>
          <a:spcPts val="127"/>
        </a:spcBef>
        <a:buFont typeface="Arial" panose="020B0604020202020204" pitchFamily="34" charset="0"/>
        <a:buChar char="•"/>
        <a:defRPr sz="457" kern="1200">
          <a:solidFill>
            <a:schemeClr val="tx1"/>
          </a:solidFill>
          <a:latin typeface="+mn-lt"/>
          <a:ea typeface="+mn-ea"/>
          <a:cs typeface="+mn-cs"/>
        </a:defRPr>
      </a:lvl8pPr>
      <a:lvl9pPr marL="986706" indent="-58042" algn="l" defTabSz="232166" rtl="0" eaLnBrk="1" latinLnBrk="0" hangingPunct="1">
        <a:lnSpc>
          <a:spcPct val="90000"/>
        </a:lnSpc>
        <a:spcBef>
          <a:spcPts val="127"/>
        </a:spcBef>
        <a:buFont typeface="Arial" panose="020B0604020202020204" pitchFamily="34" charset="0"/>
        <a:buChar char="•"/>
        <a:defRPr sz="45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32166" rtl="0" eaLnBrk="1" latinLnBrk="0" hangingPunct="1">
        <a:defRPr sz="457" kern="1200">
          <a:solidFill>
            <a:schemeClr val="tx1"/>
          </a:solidFill>
          <a:latin typeface="+mn-lt"/>
          <a:ea typeface="+mn-ea"/>
          <a:cs typeface="+mn-cs"/>
        </a:defRPr>
      </a:lvl1pPr>
      <a:lvl2pPr marL="116083" algn="l" defTabSz="232166" rtl="0" eaLnBrk="1" latinLnBrk="0" hangingPunct="1">
        <a:defRPr sz="457" kern="1200">
          <a:solidFill>
            <a:schemeClr val="tx1"/>
          </a:solidFill>
          <a:latin typeface="+mn-lt"/>
          <a:ea typeface="+mn-ea"/>
          <a:cs typeface="+mn-cs"/>
        </a:defRPr>
      </a:lvl2pPr>
      <a:lvl3pPr marL="232166" algn="l" defTabSz="232166" rtl="0" eaLnBrk="1" latinLnBrk="0" hangingPunct="1">
        <a:defRPr sz="457" kern="1200">
          <a:solidFill>
            <a:schemeClr val="tx1"/>
          </a:solidFill>
          <a:latin typeface="+mn-lt"/>
          <a:ea typeface="+mn-ea"/>
          <a:cs typeface="+mn-cs"/>
        </a:defRPr>
      </a:lvl3pPr>
      <a:lvl4pPr marL="348249" algn="l" defTabSz="232166" rtl="0" eaLnBrk="1" latinLnBrk="0" hangingPunct="1">
        <a:defRPr sz="457" kern="1200">
          <a:solidFill>
            <a:schemeClr val="tx1"/>
          </a:solidFill>
          <a:latin typeface="+mn-lt"/>
          <a:ea typeface="+mn-ea"/>
          <a:cs typeface="+mn-cs"/>
        </a:defRPr>
      </a:lvl4pPr>
      <a:lvl5pPr marL="464332" algn="l" defTabSz="232166" rtl="0" eaLnBrk="1" latinLnBrk="0" hangingPunct="1">
        <a:defRPr sz="457" kern="1200">
          <a:solidFill>
            <a:schemeClr val="tx1"/>
          </a:solidFill>
          <a:latin typeface="+mn-lt"/>
          <a:ea typeface="+mn-ea"/>
          <a:cs typeface="+mn-cs"/>
        </a:defRPr>
      </a:lvl5pPr>
      <a:lvl6pPr marL="580415" algn="l" defTabSz="232166" rtl="0" eaLnBrk="1" latinLnBrk="0" hangingPunct="1">
        <a:defRPr sz="457" kern="1200">
          <a:solidFill>
            <a:schemeClr val="tx1"/>
          </a:solidFill>
          <a:latin typeface="+mn-lt"/>
          <a:ea typeface="+mn-ea"/>
          <a:cs typeface="+mn-cs"/>
        </a:defRPr>
      </a:lvl6pPr>
      <a:lvl7pPr marL="696498" algn="l" defTabSz="232166" rtl="0" eaLnBrk="1" latinLnBrk="0" hangingPunct="1">
        <a:defRPr sz="457" kern="1200">
          <a:solidFill>
            <a:schemeClr val="tx1"/>
          </a:solidFill>
          <a:latin typeface="+mn-lt"/>
          <a:ea typeface="+mn-ea"/>
          <a:cs typeface="+mn-cs"/>
        </a:defRPr>
      </a:lvl7pPr>
      <a:lvl8pPr marL="812582" algn="l" defTabSz="232166" rtl="0" eaLnBrk="1" latinLnBrk="0" hangingPunct="1">
        <a:defRPr sz="457" kern="1200">
          <a:solidFill>
            <a:schemeClr val="tx1"/>
          </a:solidFill>
          <a:latin typeface="+mn-lt"/>
          <a:ea typeface="+mn-ea"/>
          <a:cs typeface="+mn-cs"/>
        </a:defRPr>
      </a:lvl8pPr>
      <a:lvl9pPr marL="928665" algn="l" defTabSz="232166" rtl="0" eaLnBrk="1" latinLnBrk="0" hangingPunct="1">
        <a:defRPr sz="4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4501861"/>
              </p:ext>
            </p:extLst>
          </p:nvPr>
        </p:nvGraphicFramePr>
        <p:xfrm>
          <a:off x="-5684503" y="-3385098"/>
          <a:ext cx="1986" cy="19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Folie" r:id="rId4" imgW="384" imgH="384" progId="TCLayout.ActiveDocument.1">
                  <p:embed/>
                </p:oleObj>
              </mc:Choice>
              <mc:Fallback>
                <p:oleObj name="think-cell Foli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5684503" y="-3385098"/>
                        <a:ext cx="1986" cy="19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5" name="Bogen 184">
            <a:extLst>
              <a:ext uri="{FF2B5EF4-FFF2-40B4-BE49-F238E27FC236}">
                <a16:creationId xmlns:a16="http://schemas.microsoft.com/office/drawing/2014/main" id="{087A55A0-5BC1-4523-9ED5-7FFF2AF716D5}"/>
              </a:ext>
            </a:extLst>
          </p:cNvPr>
          <p:cNvSpPr/>
          <p:nvPr/>
        </p:nvSpPr>
        <p:spPr>
          <a:xfrm>
            <a:off x="2127746" y="1009195"/>
            <a:ext cx="451100" cy="456497"/>
          </a:xfrm>
          <a:prstGeom prst="arc">
            <a:avLst>
              <a:gd name="adj1" fmla="val 15516117"/>
              <a:gd name="adj2" fmla="val 20918329"/>
            </a:avLst>
          </a:prstGeom>
          <a:ln w="6350">
            <a:solidFill>
              <a:schemeClr val="tx1"/>
            </a:solidFill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72" name="Textfeld 171"/>
              <p:cNvSpPr txBox="1"/>
              <p:nvPr/>
            </p:nvSpPr>
            <p:spPr>
              <a:xfrm>
                <a:off x="73568" y="1546423"/>
                <a:ext cx="493405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dirty="0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800" b="0" i="1" dirty="0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</m:sSub>
                      <m:r>
                        <a:rPr lang="de-DE" sz="800" b="0" i="1" dirty="0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=0</m:t>
                      </m:r>
                    </m:oMath>
                  </m:oMathPara>
                </a14:m>
                <a:endParaRPr lang="de-DE" sz="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72" name="Textfeld 17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568" y="1546423"/>
                <a:ext cx="493405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71" name="Textfeld 170"/>
              <p:cNvSpPr txBox="1"/>
              <p:nvPr/>
            </p:nvSpPr>
            <p:spPr>
              <a:xfrm>
                <a:off x="609350" y="654116"/>
                <a:ext cx="30104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dirty="0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800" i="1" dirty="0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71" name="Textfeld 17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350" y="654116"/>
                <a:ext cx="301044" cy="215444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5" name="Textfeld 134"/>
          <p:cNvSpPr txBox="1"/>
          <p:nvPr/>
        </p:nvSpPr>
        <p:spPr>
          <a:xfrm>
            <a:off x="-97321" y="-52437"/>
            <a:ext cx="28565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)</a:t>
            </a:r>
            <a:endParaRPr lang="de-DE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6" name="Textfeld 135"/>
          <p:cNvSpPr txBox="1"/>
          <p:nvPr/>
        </p:nvSpPr>
        <p:spPr>
          <a:xfrm>
            <a:off x="1525856" y="-3065"/>
            <a:ext cx="303288" cy="2634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12" dirty="0">
                <a:latin typeface="Times New Roman" panose="02020603050405020304" pitchFamily="18" charset="0"/>
                <a:cs typeface="Times New Roman" panose="02020603050405020304" pitchFamily="18" charset="0"/>
              </a:rPr>
              <a:t>b)</a:t>
            </a:r>
            <a:endParaRPr lang="de-DE" sz="1112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 flipV="1">
            <a:off x="153470" y="152980"/>
            <a:ext cx="0" cy="72000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6433530-B7EC-4A0C-814D-374CF5E0A871}"/>
              </a:ext>
            </a:extLst>
          </p:cNvPr>
          <p:cNvCxnSpPr>
            <a:cxnSpLocks/>
          </p:cNvCxnSpPr>
          <p:nvPr/>
        </p:nvCxnSpPr>
        <p:spPr>
          <a:xfrm>
            <a:off x="151334" y="872980"/>
            <a:ext cx="1140891" cy="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60939" y="-33545"/>
                <a:ext cx="318100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39" y="-33545"/>
                <a:ext cx="318100" cy="21544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 flipV="1">
            <a:off x="151334" y="1046033"/>
            <a:ext cx="0" cy="72000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26433530-B7EC-4A0C-814D-374CF5E0A871}"/>
              </a:ext>
            </a:extLst>
          </p:cNvPr>
          <p:cNvCxnSpPr>
            <a:cxnSpLocks/>
          </p:cNvCxnSpPr>
          <p:nvPr/>
        </p:nvCxnSpPr>
        <p:spPr>
          <a:xfrm>
            <a:off x="151334" y="1766033"/>
            <a:ext cx="1141200" cy="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60939" y="866225"/>
                <a:ext cx="320472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39" y="866225"/>
                <a:ext cx="320472" cy="215444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4" name="Kreis 63"/>
          <p:cNvSpPr/>
          <p:nvPr/>
        </p:nvSpPr>
        <p:spPr>
          <a:xfrm>
            <a:off x="151334" y="786958"/>
            <a:ext cx="1042232" cy="86021"/>
          </a:xfrm>
          <a:custGeom>
            <a:avLst/>
            <a:gdLst>
              <a:gd name="connsiteX0" fmla="*/ 7337531 w 12600000"/>
              <a:gd name="connsiteY0" fmla="*/ 12513978 h 12600000"/>
              <a:gd name="connsiteX1" fmla="*/ 6295299 w 12600000"/>
              <a:gd name="connsiteY1" fmla="*/ 12599998 h 12600000"/>
              <a:gd name="connsiteX2" fmla="*/ 6300000 w 12600000"/>
              <a:gd name="connsiteY2" fmla="*/ 6300000 h 12600000"/>
              <a:gd name="connsiteX3" fmla="*/ 7337531 w 12600000"/>
              <a:gd name="connsiteY3" fmla="*/ 12513978 h 12600000"/>
              <a:gd name="connsiteX0" fmla="*/ 1049165 w 1049165"/>
              <a:gd name="connsiteY0" fmla="*/ 6213978 h 6299999"/>
              <a:gd name="connsiteX1" fmla="*/ 6933 w 1049165"/>
              <a:gd name="connsiteY1" fmla="*/ 6299998 h 6299999"/>
              <a:gd name="connsiteX2" fmla="*/ 0 w 1049165"/>
              <a:gd name="connsiteY2" fmla="*/ 4667283 h 6299999"/>
              <a:gd name="connsiteX3" fmla="*/ 11634 w 1049165"/>
              <a:gd name="connsiteY3" fmla="*/ 0 h 6299999"/>
              <a:gd name="connsiteX4" fmla="*/ 1049165 w 1049165"/>
              <a:gd name="connsiteY4" fmla="*/ 6213978 h 6299999"/>
              <a:gd name="connsiteX0" fmla="*/ 0 w 1049165"/>
              <a:gd name="connsiteY0" fmla="*/ 4667283 h 6299999"/>
              <a:gd name="connsiteX1" fmla="*/ 11634 w 1049165"/>
              <a:gd name="connsiteY1" fmla="*/ 0 h 6299999"/>
              <a:gd name="connsiteX2" fmla="*/ 1049165 w 1049165"/>
              <a:gd name="connsiteY2" fmla="*/ 6213978 h 6299999"/>
              <a:gd name="connsiteX3" fmla="*/ 6933 w 1049165"/>
              <a:gd name="connsiteY3" fmla="*/ 6299998 h 6299999"/>
              <a:gd name="connsiteX4" fmla="*/ 91440 w 1049165"/>
              <a:gd name="connsiteY4" fmla="*/ 4758723 h 6299999"/>
              <a:gd name="connsiteX0" fmla="*/ 0 w 1049165"/>
              <a:gd name="connsiteY0" fmla="*/ 4667283 h 6299999"/>
              <a:gd name="connsiteX1" fmla="*/ 11634 w 1049165"/>
              <a:gd name="connsiteY1" fmla="*/ 0 h 6299999"/>
              <a:gd name="connsiteX2" fmla="*/ 1049165 w 1049165"/>
              <a:gd name="connsiteY2" fmla="*/ 6213978 h 6299999"/>
              <a:gd name="connsiteX3" fmla="*/ 6933 w 1049165"/>
              <a:gd name="connsiteY3" fmla="*/ 6299998 h 6299999"/>
              <a:gd name="connsiteX0" fmla="*/ 4701 w 1042232"/>
              <a:gd name="connsiteY0" fmla="*/ 0 h 6299999"/>
              <a:gd name="connsiteX1" fmla="*/ 1042232 w 1042232"/>
              <a:gd name="connsiteY1" fmla="*/ 6213978 h 6299999"/>
              <a:gd name="connsiteX2" fmla="*/ 0 w 1042232"/>
              <a:gd name="connsiteY2" fmla="*/ 6299998 h 6299999"/>
              <a:gd name="connsiteX0" fmla="*/ 1042232 w 1042232"/>
              <a:gd name="connsiteY0" fmla="*/ 0 h 86021"/>
              <a:gd name="connsiteX1" fmla="*/ 0 w 1042232"/>
              <a:gd name="connsiteY1" fmla="*/ 86020 h 86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2232" h="86021">
                <a:moveTo>
                  <a:pt x="1042232" y="0"/>
                </a:moveTo>
                <a:cubicBezTo>
                  <a:pt x="697806" y="57508"/>
                  <a:pt x="349194" y="86280"/>
                  <a:pt x="0" y="8602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5" name="Textfeld 64"/>
              <p:cNvSpPr txBox="1"/>
              <p:nvPr/>
            </p:nvSpPr>
            <p:spPr>
              <a:xfrm>
                <a:off x="1079500" y="587288"/>
                <a:ext cx="36375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00" b="0" i="1" dirty="0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𝜅</m:t>
                      </m:r>
                      <m:r>
                        <a:rPr lang="de-DE" sz="800" i="1" dirty="0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, </m:t>
                      </m:r>
                      <m:r>
                        <a:rPr lang="de-DE" sz="800" i="1" dirty="0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𝐿</m:t>
                      </m:r>
                    </m:oMath>
                  </m:oMathPara>
                </a14:m>
                <a:endParaRPr lang="de-DE" sz="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65" name="Textfeld 6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9500" y="587288"/>
                <a:ext cx="363754" cy="215444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4" name="Gerader Verbinder 163"/>
          <p:cNvCxnSpPr/>
          <p:nvPr/>
        </p:nvCxnSpPr>
        <p:spPr>
          <a:xfrm>
            <a:off x="151334" y="1759191"/>
            <a:ext cx="720000" cy="0"/>
          </a:xfrm>
          <a:prstGeom prst="lin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68" name="Textfeld 167"/>
              <p:cNvSpPr txBox="1"/>
              <p:nvPr/>
            </p:nvSpPr>
            <p:spPr>
              <a:xfrm>
                <a:off x="782959" y="1582137"/>
                <a:ext cx="266933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00" i="1" dirty="0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𝐿</m:t>
                      </m:r>
                    </m:oMath>
                  </m:oMathPara>
                </a14:m>
                <a:endParaRPr lang="de-DE" sz="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68" name="Textfeld 16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2959" y="1582137"/>
                <a:ext cx="266933" cy="215444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9" name="Ellipse 168"/>
          <p:cNvSpPr>
            <a:spLocks noChangeAspect="1"/>
          </p:cNvSpPr>
          <p:nvPr/>
        </p:nvSpPr>
        <p:spPr>
          <a:xfrm>
            <a:off x="672450" y="829968"/>
            <a:ext cx="36000" cy="3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0" name="Ellipse 169"/>
          <p:cNvSpPr>
            <a:spLocks noChangeAspect="1"/>
          </p:cNvSpPr>
          <p:nvPr/>
        </p:nvSpPr>
        <p:spPr>
          <a:xfrm>
            <a:off x="136429" y="1741191"/>
            <a:ext cx="36000" cy="3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 flipV="1">
            <a:off x="1810847" y="524455"/>
            <a:ext cx="0" cy="72000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26433530-B7EC-4A0C-814D-374CF5E0A871}"/>
              </a:ext>
            </a:extLst>
          </p:cNvPr>
          <p:cNvCxnSpPr>
            <a:cxnSpLocks/>
          </p:cNvCxnSpPr>
          <p:nvPr/>
        </p:nvCxnSpPr>
        <p:spPr>
          <a:xfrm>
            <a:off x="1808711" y="1244455"/>
            <a:ext cx="1140891" cy="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p:sp>
        <p:nvSpPr>
          <p:cNvPr id="180" name="Kreis 63"/>
          <p:cNvSpPr/>
          <p:nvPr/>
        </p:nvSpPr>
        <p:spPr>
          <a:xfrm>
            <a:off x="1808711" y="1158434"/>
            <a:ext cx="1042232" cy="86021"/>
          </a:xfrm>
          <a:custGeom>
            <a:avLst/>
            <a:gdLst>
              <a:gd name="connsiteX0" fmla="*/ 7337531 w 12600000"/>
              <a:gd name="connsiteY0" fmla="*/ 12513978 h 12600000"/>
              <a:gd name="connsiteX1" fmla="*/ 6295299 w 12600000"/>
              <a:gd name="connsiteY1" fmla="*/ 12599998 h 12600000"/>
              <a:gd name="connsiteX2" fmla="*/ 6300000 w 12600000"/>
              <a:gd name="connsiteY2" fmla="*/ 6300000 h 12600000"/>
              <a:gd name="connsiteX3" fmla="*/ 7337531 w 12600000"/>
              <a:gd name="connsiteY3" fmla="*/ 12513978 h 12600000"/>
              <a:gd name="connsiteX0" fmla="*/ 1049165 w 1049165"/>
              <a:gd name="connsiteY0" fmla="*/ 6213978 h 6299999"/>
              <a:gd name="connsiteX1" fmla="*/ 6933 w 1049165"/>
              <a:gd name="connsiteY1" fmla="*/ 6299998 h 6299999"/>
              <a:gd name="connsiteX2" fmla="*/ 0 w 1049165"/>
              <a:gd name="connsiteY2" fmla="*/ 4667283 h 6299999"/>
              <a:gd name="connsiteX3" fmla="*/ 11634 w 1049165"/>
              <a:gd name="connsiteY3" fmla="*/ 0 h 6299999"/>
              <a:gd name="connsiteX4" fmla="*/ 1049165 w 1049165"/>
              <a:gd name="connsiteY4" fmla="*/ 6213978 h 6299999"/>
              <a:gd name="connsiteX0" fmla="*/ 0 w 1049165"/>
              <a:gd name="connsiteY0" fmla="*/ 4667283 h 6299999"/>
              <a:gd name="connsiteX1" fmla="*/ 11634 w 1049165"/>
              <a:gd name="connsiteY1" fmla="*/ 0 h 6299999"/>
              <a:gd name="connsiteX2" fmla="*/ 1049165 w 1049165"/>
              <a:gd name="connsiteY2" fmla="*/ 6213978 h 6299999"/>
              <a:gd name="connsiteX3" fmla="*/ 6933 w 1049165"/>
              <a:gd name="connsiteY3" fmla="*/ 6299998 h 6299999"/>
              <a:gd name="connsiteX4" fmla="*/ 91440 w 1049165"/>
              <a:gd name="connsiteY4" fmla="*/ 4758723 h 6299999"/>
              <a:gd name="connsiteX0" fmla="*/ 0 w 1049165"/>
              <a:gd name="connsiteY0" fmla="*/ 4667283 h 6299999"/>
              <a:gd name="connsiteX1" fmla="*/ 11634 w 1049165"/>
              <a:gd name="connsiteY1" fmla="*/ 0 h 6299999"/>
              <a:gd name="connsiteX2" fmla="*/ 1049165 w 1049165"/>
              <a:gd name="connsiteY2" fmla="*/ 6213978 h 6299999"/>
              <a:gd name="connsiteX3" fmla="*/ 6933 w 1049165"/>
              <a:gd name="connsiteY3" fmla="*/ 6299998 h 6299999"/>
              <a:gd name="connsiteX0" fmla="*/ 4701 w 1042232"/>
              <a:gd name="connsiteY0" fmla="*/ 0 h 6299999"/>
              <a:gd name="connsiteX1" fmla="*/ 1042232 w 1042232"/>
              <a:gd name="connsiteY1" fmla="*/ 6213978 h 6299999"/>
              <a:gd name="connsiteX2" fmla="*/ 0 w 1042232"/>
              <a:gd name="connsiteY2" fmla="*/ 6299998 h 6299999"/>
              <a:gd name="connsiteX0" fmla="*/ 1042232 w 1042232"/>
              <a:gd name="connsiteY0" fmla="*/ 0 h 86021"/>
              <a:gd name="connsiteX1" fmla="*/ 0 w 1042232"/>
              <a:gd name="connsiteY1" fmla="*/ 86020 h 86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2232" h="86021">
                <a:moveTo>
                  <a:pt x="1042232" y="0"/>
                </a:moveTo>
                <a:cubicBezTo>
                  <a:pt x="697806" y="57508"/>
                  <a:pt x="349194" y="86280"/>
                  <a:pt x="0" y="8602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cxnSp>
        <p:nvCxnSpPr>
          <p:cNvPr id="181" name="Gerader Verbinder 180"/>
          <p:cNvCxnSpPr/>
          <p:nvPr/>
        </p:nvCxnSpPr>
        <p:spPr>
          <a:xfrm rot="4800000">
            <a:off x="1923149" y="864913"/>
            <a:ext cx="720000" cy="0"/>
          </a:xfrm>
          <a:prstGeom prst="lin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82" name="Ellipse 181"/>
          <p:cNvSpPr>
            <a:spLocks noChangeAspect="1"/>
          </p:cNvSpPr>
          <p:nvPr/>
        </p:nvSpPr>
        <p:spPr>
          <a:xfrm>
            <a:off x="2329827" y="1201444"/>
            <a:ext cx="36000" cy="3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88" name="Textfeld 187"/>
              <p:cNvSpPr txBox="1"/>
              <p:nvPr/>
            </p:nvSpPr>
            <p:spPr>
              <a:xfrm>
                <a:off x="2397429" y="891347"/>
                <a:ext cx="274306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00" i="1" dirty="0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𝛼</m:t>
                      </m:r>
                    </m:oMath>
                  </m:oMathPara>
                </a14:m>
                <a:endParaRPr lang="de-DE" sz="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88" name="Textfeld 18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7429" y="891347"/>
                <a:ext cx="274306" cy="21544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89" name="Textfeld 188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1216372" y="746332"/>
                <a:ext cx="308931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89" name="Textfeld 188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16372" y="746332"/>
                <a:ext cx="308931" cy="215444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1216372" y="1617527"/>
                <a:ext cx="311303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16372" y="1617527"/>
                <a:ext cx="311303" cy="21544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1745130" y="349845"/>
                <a:ext cx="318100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5130" y="349845"/>
                <a:ext cx="318100" cy="21544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2900563" y="1129722"/>
                <a:ext cx="308931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sz="800" b="0" i="1" kern="0" smtClea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00563" y="1129722"/>
                <a:ext cx="308931" cy="215444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33461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AfZ4KIOWW5hcuSKUwi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51</Words>
  <Application>Microsoft Office PowerPoint</Application>
  <PresentationFormat>Benutzerdefiniert</PresentationFormat>
  <Paragraphs>13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Cambria Math</vt:lpstr>
      <vt:lpstr>Times New Roman</vt:lpstr>
      <vt:lpstr>Office</vt:lpstr>
      <vt:lpstr>think-cell Folie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iel Becker</dc:creator>
  <cp:lastModifiedBy>Daniel Becker</cp:lastModifiedBy>
  <cp:revision>8</cp:revision>
  <dcterms:created xsi:type="dcterms:W3CDTF">2020-02-07T12:21:17Z</dcterms:created>
  <dcterms:modified xsi:type="dcterms:W3CDTF">2020-02-10T16:11:56Z</dcterms:modified>
</cp:coreProperties>
</file>